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sldIdLst>
    <p:sldId id="257" r:id="rId5"/>
    <p:sldId id="260" r:id="rId6"/>
    <p:sldId id="261" r:id="rId7"/>
    <p:sldId id="262" r:id="rId8"/>
    <p:sldId id="263" r:id="rId9"/>
    <p:sldId id="264" r:id="rId10"/>
    <p:sldId id="265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CDCD"/>
    <a:srgbClr val="0099FF"/>
    <a:srgbClr val="A3D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157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50799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431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8438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0" y="3771174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5678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9067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5137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69130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1623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286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32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35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520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628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4472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2120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0882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465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82516E-DF0F-6D62-6162-C8151C0C9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38360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21" imgW="395" imgH="394" progId="TCLayout.ActiveDocument.1">
                  <p:embed/>
                </p:oleObj>
              </mc:Choice>
              <mc:Fallback>
                <p:oleObj name="think-cell Folie" r:id="rId21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EA0EDBBA-F36F-4F40-8FE5-FF2925A0050C}" type="datetimeFigureOut">
              <a:rPr lang="de-DE" smtClean="0"/>
              <a:t>02.07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98144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6"/>
            <a:ext cx="9186041" cy="1954924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21" name="Rechteck 20"/>
          <p:cNvSpPr/>
          <p:nvPr/>
        </p:nvSpPr>
        <p:spPr>
          <a:xfrm>
            <a:off x="4761446" y="4224406"/>
            <a:ext cx="2699933" cy="179201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/>
        </p:nvSpPr>
        <p:spPr>
          <a:xfrm>
            <a:off x="8004502" y="4224405"/>
            <a:ext cx="2699933" cy="1792011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/>
        </p:nvSpPr>
        <p:spPr>
          <a:xfrm>
            <a:off x="1518394" y="4224405"/>
            <a:ext cx="2699933" cy="1792011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/>
          <p:cNvSpPr txBox="1"/>
          <p:nvPr/>
        </p:nvSpPr>
        <p:spPr>
          <a:xfrm>
            <a:off x="1549924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Stuttgart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1570946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Germany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2666340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18°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541986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2:51</a:t>
            </a:r>
          </a:p>
        </p:txBody>
      </p:sp>
      <p:pic>
        <p:nvPicPr>
          <p:cNvPr id="31" name="Picture 4" descr="Sonne Symbol in Mobirise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296" y="4377739"/>
            <a:ext cx="642141" cy="642141"/>
          </a:xfrm>
          <a:prstGeom prst="rect">
            <a:avLst/>
          </a:prstGeom>
          <a:noFill/>
        </p:spPr>
      </p:pic>
      <p:sp>
        <p:nvSpPr>
          <p:cNvPr id="32" name="Textfeld 31"/>
          <p:cNvSpPr txBox="1"/>
          <p:nvPr/>
        </p:nvSpPr>
        <p:spPr>
          <a:xfrm>
            <a:off x="4780362" y="5160847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New York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4801384" y="5665797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USA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5896778" y="4289528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8°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6772424" y="5673843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06:51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017806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Kairo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8038828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Egyp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9134222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38°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0009868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3:51</a:t>
            </a:r>
          </a:p>
        </p:txBody>
      </p:sp>
      <p:pic>
        <p:nvPicPr>
          <p:cNvPr id="1034" name="Picture 10" descr="Crescent Oder Ein Neuer Mond Und Sterne. Symbol Der Nacht Und Die Zeit Für  Schlaf. Astronomie Und Astrologie. Melden Sie Sich Für Meteorologie.  Einfache Schwarze Linie Vektor-symbol Lizenzfrei Nutzbare SVG,  Vektorgrafiken, Clip"/>
          <p:cNvPicPr>
            <a:picLocks noChangeAspect="1" noChangeArrowheads="1"/>
          </p:cNvPicPr>
          <p:nvPr/>
        </p:nvPicPr>
        <p:blipFill rotWithShape="1"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26" t="31817" r="31181" b="17591"/>
          <a:stretch/>
        </p:blipFill>
        <p:spPr bwMode="auto">
          <a:xfrm>
            <a:off x="5001734" y="4425128"/>
            <a:ext cx="626869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pic>
        <p:nvPicPr>
          <p:cNvPr id="2" name="Picture 4" descr="Wolken, Wetter, Wolke Symbol in iOS7 Minimal Icons"/>
          <p:cNvPicPr>
            <a:picLocks noChangeAspect="1" noChangeArrowheads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2" t="19832" r="4682" b="21228"/>
          <a:stretch/>
        </p:blipFill>
        <p:spPr bwMode="auto">
          <a:xfrm>
            <a:off x="8164772" y="4366901"/>
            <a:ext cx="987804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1518394" y="1720812"/>
            <a:ext cx="916781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800" b="1" dirty="0" err="1">
                <a:latin typeface="Agency FB" panose="020B0503020202020204" pitchFamily="34" charset="0"/>
              </a:rPr>
              <a:t>WeatherApp</a:t>
            </a:r>
            <a:endParaRPr lang="de-DE" sz="8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52384" y="61520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</p:spTree>
    <p:extLst>
      <p:ext uri="{BB962C8B-B14F-4D97-AF65-F5344CB8AC3E}">
        <p14:creationId xmlns:p14="http://schemas.microsoft.com/office/powerpoint/2010/main" val="28476093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217478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945758" y="1808457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idee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1945758" y="2675983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planung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1945758" y="3543509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fgabenteilung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1945758" y="4411035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sarbeitung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1945758" y="5278561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232438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47407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17478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1679944" y="1796902"/>
            <a:ext cx="45507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e Wetter App in der man immer das aktuelle Wetter sieht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679944" y="2668573"/>
            <a:ext cx="47421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Dies soll für mehrere Städte gleichzeitig funktioniere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3740354" y="5569025"/>
            <a:ext cx="4742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rste Design-Idee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14" y="3250709"/>
            <a:ext cx="5477292" cy="3026013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1679944" y="3538074"/>
            <a:ext cx="47421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 Button soll den Standort ermitteln und das Wetter für diese Stadt ausgeb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0E8452A-2D1D-3A5D-DA58-BCE108FA03FC}"/>
              </a:ext>
            </a:extLst>
          </p:cNvPr>
          <p:cNvSpPr txBox="1"/>
          <p:nvPr/>
        </p:nvSpPr>
        <p:spPr>
          <a:xfrm>
            <a:off x="-5747408" y="59826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7726778-6AA1-7ECF-EF0C-49414BABA90C}"/>
              </a:ext>
            </a:extLst>
          </p:cNvPr>
          <p:cNvSpPr txBox="1"/>
          <p:nvPr/>
        </p:nvSpPr>
        <p:spPr>
          <a:xfrm>
            <a:off x="-5747408" y="598266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FC99E2B-CDE1-F0C4-3497-777634C505B6}"/>
              </a:ext>
            </a:extLst>
          </p:cNvPr>
          <p:cNvSpPr txBox="1"/>
          <p:nvPr/>
        </p:nvSpPr>
        <p:spPr>
          <a:xfrm>
            <a:off x="-5747408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FD8F81B-718B-0291-C03F-FED27E5E4EB5}"/>
              </a:ext>
            </a:extLst>
          </p:cNvPr>
          <p:cNvSpPr txBox="1"/>
          <p:nvPr/>
        </p:nvSpPr>
        <p:spPr>
          <a:xfrm>
            <a:off x="-5747408" y="598190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5425564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/>
        </p:nvSpPr>
        <p:spPr>
          <a:xfrm>
            <a:off x="217477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-6801212" y="593421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754372" y="1669312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ntschieden dass wir WPF programmier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33" y="3028730"/>
            <a:ext cx="5264629" cy="3247992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1754372" y="2186577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Wetter - API recherchieren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754372" y="2700303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Standort - API recherchieren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754372" y="3217568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Konkretes Design festlegen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sp>
        <p:nvSpPr>
          <p:cNvPr id="23" name="Textfeld 22"/>
          <p:cNvSpPr txBox="1"/>
          <p:nvPr/>
        </p:nvSpPr>
        <p:spPr>
          <a:xfrm>
            <a:off x="1754372" y="3728479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teilen der Aufgaben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-6804837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</p:spTree>
    <p:extLst>
      <p:ext uri="{BB962C8B-B14F-4D97-AF65-F5344CB8AC3E}">
        <p14:creationId xmlns:p14="http://schemas.microsoft.com/office/powerpoint/2010/main" val="39340969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graphicFrame>
        <p:nvGraphicFramePr>
          <p:cNvPr id="7" name="Tabelle 11">
            <a:extLst>
              <a:ext uri="{FF2B5EF4-FFF2-40B4-BE49-F238E27FC236}">
                <a16:creationId xmlns:a16="http://schemas.microsoft.com/office/drawing/2014/main" id="{083A4653-711B-6103-D66E-55F0AB170B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315883"/>
              </p:ext>
            </p:extLst>
          </p:nvPr>
        </p:nvGraphicFramePr>
        <p:xfrm>
          <a:off x="1538676" y="1401707"/>
          <a:ext cx="9134930" cy="49822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3380">
                  <a:extLst>
                    <a:ext uri="{9D8B030D-6E8A-4147-A177-3AD203B41FA5}">
                      <a16:colId xmlns:a16="http://schemas.microsoft.com/office/drawing/2014/main" val="2944820296"/>
                    </a:ext>
                  </a:extLst>
                </a:gridCol>
                <a:gridCol w="7781550">
                  <a:extLst>
                    <a:ext uri="{9D8B030D-6E8A-4147-A177-3AD203B41FA5}">
                      <a16:colId xmlns:a16="http://schemas.microsoft.com/office/drawing/2014/main" val="946069847"/>
                    </a:ext>
                  </a:extLst>
                </a:gridCol>
              </a:tblGrid>
              <a:tr h="363471">
                <a:tc>
                  <a:txBody>
                    <a:bodyPr/>
                    <a:lstStyle/>
                    <a:p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ätigk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707816"/>
                  </a:ext>
                </a:extLst>
              </a:tr>
              <a:tr h="1123259">
                <a:tc>
                  <a:txBody>
                    <a:bodyPr/>
                    <a:lstStyle/>
                    <a:p>
                      <a:r>
                        <a:rPr lang="de-DE" dirty="0"/>
                        <a:t>Mau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Auswahl von geeigneten </a:t>
                      </a:r>
                      <a:r>
                        <a:rPr lang="de-DE" sz="1600" dirty="0" err="1"/>
                        <a:t>Application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Programming</a:t>
                      </a:r>
                      <a:r>
                        <a:rPr lang="de-DE" sz="1600" dirty="0"/>
                        <a:t> Interfaces | </a:t>
                      </a:r>
                    </a:p>
                    <a:p>
                      <a:r>
                        <a:rPr lang="de-DE" sz="1600" dirty="0"/>
                        <a:t>Entwicklung der Datenbankanbindung, der API-Anbindung, der Cities-, </a:t>
                      </a:r>
                      <a:r>
                        <a:rPr lang="de-DE" sz="1600" dirty="0" err="1"/>
                        <a:t>GeoLocator</a:t>
                      </a:r>
                      <a:r>
                        <a:rPr lang="de-DE" sz="1600" dirty="0"/>
                        <a:t>-, </a:t>
                      </a:r>
                      <a:r>
                        <a:rPr lang="de-DE" sz="1600" dirty="0" err="1"/>
                        <a:t>Weather</a:t>
                      </a:r>
                      <a:r>
                        <a:rPr lang="de-DE" sz="1600" dirty="0"/>
                        <a:t>-Klasse, des Hauptprogram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0014116"/>
                  </a:ext>
                </a:extLst>
              </a:tr>
              <a:tr h="1050361">
                <a:tc>
                  <a:txBody>
                    <a:bodyPr/>
                    <a:lstStyle/>
                    <a:p>
                      <a:r>
                        <a:rPr lang="de-DE" dirty="0"/>
                        <a:t>Hes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Auswahl von geeigneten </a:t>
                      </a:r>
                      <a:r>
                        <a:rPr lang="de-DE" sz="1600" dirty="0" err="1"/>
                        <a:t>Application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Programming</a:t>
                      </a:r>
                      <a:r>
                        <a:rPr lang="de-DE" sz="1600" dirty="0"/>
                        <a:t> Interfaces | </a:t>
                      </a:r>
                    </a:p>
                    <a:p>
                      <a:r>
                        <a:rPr lang="de-DE" sz="1600" dirty="0"/>
                        <a:t>Entwicklung der Datenbankanbindung, der API-Anbindung, des Hauptprogramms | Auswahl und Konvertierung der Datenba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4315452"/>
                  </a:ext>
                </a:extLst>
              </a:tr>
              <a:tr h="80962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Henri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Entwicklung des Overlays der GUI,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8838917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M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Entwicklung des Overlays der GUI;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956125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Lu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Design der grafischen Benutzeroberfläche in PowerPoint &amp; Paint | Informationssammlung zur Auswahl der APIs | Ressourcenfindung der Benutzeroberfläche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4920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551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009162-A553-9538-C5A2-79F0D3F533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885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217475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-6803464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6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81795DA-0283-31A0-14CF-E68AC84AC7B2}"/>
              </a:ext>
            </a:extLst>
          </p:cNvPr>
          <p:cNvSpPr txBox="1"/>
          <p:nvPr/>
        </p:nvSpPr>
        <p:spPr>
          <a:xfrm>
            <a:off x="-6803464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20442CD-0CBE-833C-F737-86146A360836}"/>
              </a:ext>
            </a:extLst>
          </p:cNvPr>
          <p:cNvSpPr txBox="1"/>
          <p:nvPr/>
        </p:nvSpPr>
        <p:spPr>
          <a:xfrm>
            <a:off x="1754372" y="1775637"/>
            <a:ext cx="829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Git.merve.com</a:t>
            </a:r>
          </a:p>
        </p:txBody>
      </p:sp>
    </p:spTree>
    <p:extLst>
      <p:ext uri="{BB962C8B-B14F-4D97-AF65-F5344CB8AC3E}">
        <p14:creationId xmlns:p14="http://schemas.microsoft.com/office/powerpoint/2010/main" val="533620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009162-A553-9538-C5A2-79F0D3F533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9610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6009162-A553-9538-C5A2-79F0D3F53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081795DA-0283-31A0-14CF-E68AC84AC7B2}"/>
              </a:ext>
            </a:extLst>
          </p:cNvPr>
          <p:cNvSpPr txBox="1"/>
          <p:nvPr/>
        </p:nvSpPr>
        <p:spPr>
          <a:xfrm>
            <a:off x="217474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6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0917" y="1429004"/>
            <a:ext cx="6775293" cy="4936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920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4794A6BEF7645BCDC859D16D8D58D" ma:contentTypeVersion="11" ma:contentTypeDescription="Create a new document." ma:contentTypeScope="" ma:versionID="392a73e8a323ac3436177d957642a4d6">
  <xsd:schema xmlns:xsd="http://www.w3.org/2001/XMLSchema" xmlns:xs="http://www.w3.org/2001/XMLSchema" xmlns:p="http://schemas.microsoft.com/office/2006/metadata/properties" xmlns:ns3="522e9e59-5b9e-4fcd-a4b6-ad60182caee2" targetNamespace="http://schemas.microsoft.com/office/2006/metadata/properties" ma:root="true" ma:fieldsID="f24508493edffc831bc7ef2ad3827650" ns3:_="">
    <xsd:import namespace="522e9e59-5b9e-4fcd-a4b6-ad60182caee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_activity" minOccurs="0"/>
                <xsd:element ref="ns3:MediaServiceDateTaken" minOccurs="0"/>
                <xsd:element ref="ns3:MediaServiceObjectDetectorVersions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e9e59-5b9e-4fcd-a4b6-ad60182cae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2e9e59-5b9e-4fcd-a4b6-ad60182caee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E40AA2-AB36-4BDA-A3F5-D667D16344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2e9e59-5b9e-4fcd-a4b6-ad60182cae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541BF2-12C1-40A1-9AEA-D866F0764908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22e9e59-5b9e-4fcd-a4b6-ad60182caee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CF31296-EC6C-4E0F-A447-B65B00A9968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300</Words>
  <Application>Microsoft Office PowerPoint</Application>
  <PresentationFormat>Breitbild</PresentationFormat>
  <Paragraphs>81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gency FB</vt:lpstr>
      <vt:lpstr>Arial</vt:lpstr>
      <vt:lpstr>Century Gothic</vt:lpstr>
      <vt:lpstr>Wingdings</vt:lpstr>
      <vt:lpstr>Wingdings 3</vt:lpstr>
      <vt:lpstr>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aeuffele, Luca (001)</dc:creator>
  <cp:lastModifiedBy>Osman, Hesham (096)</cp:lastModifiedBy>
  <cp:revision>25</cp:revision>
  <dcterms:created xsi:type="dcterms:W3CDTF">2023-06-13T10:28:33Z</dcterms:created>
  <dcterms:modified xsi:type="dcterms:W3CDTF">2023-07-02T18:4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b5ff3ce-c151-426b-9620-64dd2650a755_Enabled">
    <vt:lpwstr>true</vt:lpwstr>
  </property>
  <property fmtid="{D5CDD505-2E9C-101B-9397-08002B2CF9AE}" pid="3" name="MSIP_Label_ab5ff3ce-c151-426b-9620-64dd2650a755_SetDate">
    <vt:lpwstr>2023-06-13T10:28:33Z</vt:lpwstr>
  </property>
  <property fmtid="{D5CDD505-2E9C-101B-9397-08002B2CF9AE}" pid="4" name="MSIP_Label_ab5ff3ce-c151-426b-9620-64dd2650a755_Method">
    <vt:lpwstr>Standard</vt:lpwstr>
  </property>
  <property fmtid="{D5CDD505-2E9C-101B-9397-08002B2CF9AE}" pid="5" name="MSIP_Label_ab5ff3ce-c151-426b-9620-64dd2650a755_Name">
    <vt:lpwstr>Daimler Truck Internal</vt:lpwstr>
  </property>
  <property fmtid="{D5CDD505-2E9C-101B-9397-08002B2CF9AE}" pid="6" name="MSIP_Label_ab5ff3ce-c151-426b-9620-64dd2650a755_SiteId">
    <vt:lpwstr>505cca53-5750-4134-9501-8d52d5df3cd1</vt:lpwstr>
  </property>
  <property fmtid="{D5CDD505-2E9C-101B-9397-08002B2CF9AE}" pid="7" name="MSIP_Label_ab5ff3ce-c151-426b-9620-64dd2650a755_ActionId">
    <vt:lpwstr>cbce04f7-0363-469f-8e82-1c7604a3071a</vt:lpwstr>
  </property>
  <property fmtid="{D5CDD505-2E9C-101B-9397-08002B2CF9AE}" pid="8" name="MSIP_Label_ab5ff3ce-c151-426b-9620-64dd2650a755_ContentBits">
    <vt:lpwstr>0</vt:lpwstr>
  </property>
  <property fmtid="{D5CDD505-2E9C-101B-9397-08002B2CF9AE}" pid="9" name="ContentTypeId">
    <vt:lpwstr>0x0101003CD4794A6BEF7645BCDC859D16D8D58D</vt:lpwstr>
  </property>
</Properties>
</file>